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Default Extension="fntdata" ContentType="application/x-fontdata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</p:sldMasterIdLst>
  <p:sldIdLst>
    <p:sldId id="256" r:id="rId2"/>
    <p:sldId id="270" r:id="rId3"/>
    <p:sldId id="271" r:id="rId4"/>
    <p:sldId id="272" r:id="rId5"/>
    <p:sldId id="260" r:id="rId6"/>
    <p:sldId id="258" r:id="rId7"/>
    <p:sldId id="267" r:id="rId8"/>
  </p:sldIdLst>
  <p:sldSz cx="9144000" cy="6858000" type="screen4x3"/>
  <p:notesSz cx="6735763" cy="9866313"/>
  <p:embeddedFontLst>
    <p:embeddedFont>
      <p:font typeface="HeliosCond" charset="-52"/>
      <p:regular r:id="rId9"/>
      <p:bold r:id="rId10"/>
      <p:italic r:id="rId11"/>
      <p:boldItalic r:id="rId12"/>
    </p:embeddedFont>
    <p:embeddedFont>
      <p:font typeface="Calibri" pitchFamily="34" charset="0"/>
      <p:regular r:id="rId13"/>
      <p:bold r:id="rId14"/>
      <p:italic r:id="rId15"/>
      <p:boldItalic r:id="rId16"/>
    </p:embeddedFont>
    <p:embeddedFont>
      <p:font typeface="_Entypo" charset="0"/>
      <p:regular r:id="rId17"/>
    </p:embeddedFont>
    <p:embeddedFont>
      <p:font typeface="Myriad Pro Cond" charset="0"/>
      <p:regular r:id="rId18"/>
      <p:bold r:id="rId19"/>
      <p:italic r:id="rId20"/>
      <p:boldItalic r:id="rId21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207" userDrawn="1">
          <p15:clr>
            <a:srgbClr val="A4A3A4"/>
          </p15:clr>
        </p15:guide>
        <p15:guide id="2" pos="210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820000"/>
    <a:srgbClr val="263354"/>
    <a:srgbClr val="405252"/>
    <a:srgbClr val="3B3B29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1EBBBCC-DAD2-459C-BE2E-F6DE35CF9A28}" styleName="Темный стиль 2 —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FD4443E-F989-4FC4-A0C8-D5A2AF1F390B}" styleName="Темный стиль 1 — акцент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-636" y="-96"/>
      </p:cViewPr>
      <p:guideLst>
        <p:guide orient="horz" pos="1207"/>
        <p:guide pos="210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3" Type="http://schemas.openxmlformats.org/officeDocument/2006/relationships/slide" Target="slides/slide2.xml"/><Relationship Id="rId21" Type="http://schemas.openxmlformats.org/officeDocument/2006/relationships/font" Target="fonts/font13.fntdata"/><Relationship Id="rId7" Type="http://schemas.openxmlformats.org/officeDocument/2006/relationships/slide" Target="slides/slide6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8.fntdata"/><Relationship Id="rId20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font" Target="fonts/font7.fntdata"/><Relationship Id="rId23" Type="http://schemas.openxmlformats.org/officeDocument/2006/relationships/viewProps" Target="viewProps.xml"/><Relationship Id="rId10" Type="http://schemas.openxmlformats.org/officeDocument/2006/relationships/font" Target="fonts/font2.fntdata"/><Relationship Id="rId19" Type="http://schemas.openxmlformats.org/officeDocument/2006/relationships/font" Target="fonts/font11.fntdata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Taratina\&#1074;&#1084;&#1077;&#1089;&#1090;&#1086;%20!!!\111111\!!!\&#1055;&#1080;&#1089;&#1100;&#1084;&#1072;%20&#1086;&#1090;&#1076;&#1077;&#1083;&#1086;&#1074;\&#1054;&#1090;&#1076;&#1077;&#1083;%20&#1080;&#1085;&#1074;&#1077;&#1089;&#1090;%20&#1087;&#1086;&#1083;&#1080;&#1090;&#1080;&#1082;&#1080;\&#1053;&#1048;&#1071;&#1047;&#1052;&#1045;&#1058;&#1054;&#1042;\&#1055;&#1083;&#1072;&#1085;%20&#1090;&#1077;&#1084;&#1087;&#1086;&#1074;%20&#1088;&#1086;&#1089;&#1090;&#1072;\&#1050;%201%20&#1072;&#1087;&#1088;&#1077;&#1083;&#1103;\&#1044;&#1080;&#1072;&#1075;&#1088;&#1072;&#1084;&#1084;&#1099;%20&#1076;&#1083;&#1103;%20&#1087;&#1088;&#1077;&#1079;&#1077;&#1085;&#1090;&#1072;&#1094;&#1080;&#1080;\&#1042;&#1086;&#1076;&#1082;&#1072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/>
      <c:doughnutChart>
        <c:varyColors val="1"/>
        <c:ser>
          <c:idx val="0"/>
          <c:order val="0"/>
          <c:cat>
            <c:strRef>
              <c:f>Лист1!$C$4:$C$9</c:f>
              <c:strCache>
                <c:ptCount val="6"/>
                <c:pt idx="0">
                  <c:v>Roust</c:v>
                </c:pt>
                <c:pt idx="1">
                  <c:v>Татспиртпром</c:v>
                </c:pt>
                <c:pt idx="2">
                  <c:v>Beluga Group</c:v>
                </c:pt>
                <c:pt idx="3">
                  <c:v>Алкогольная сибирская группа</c:v>
                </c:pt>
                <c:pt idx="4">
                  <c:v>Global Spirits</c:v>
                </c:pt>
                <c:pt idx="5">
                  <c:v>Тюмень</c:v>
                </c:pt>
              </c:strCache>
            </c:strRef>
          </c:cat>
          <c:val>
            <c:numRef>
              <c:f>Лист1!$D$4:$D$9</c:f>
              <c:numCache>
                <c:formatCode>0</c:formatCode>
                <c:ptCount val="6"/>
                <c:pt idx="0">
                  <c:v>10.812526449428711</c:v>
                </c:pt>
                <c:pt idx="1">
                  <c:v>10.022570179150796</c:v>
                </c:pt>
                <c:pt idx="2">
                  <c:v>9.2326139088729029</c:v>
                </c:pt>
                <c:pt idx="3">
                  <c:v>6.1468472280998725</c:v>
                </c:pt>
                <c:pt idx="4">
                  <c:v>4.96191282268303</c:v>
                </c:pt>
                <c:pt idx="5">
                  <c:v>58.823529411764639</c:v>
                </c:pt>
              </c:numCache>
            </c:numRef>
          </c:val>
        </c:ser>
        <c:firstSliceAng val="0"/>
        <c:holeSize val="50"/>
      </c:doughnutChart>
    </c:plotArea>
    <c:plotVisOnly val="1"/>
  </c:chart>
  <c:externalData r:id="rId1"/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2239349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918223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3881398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935541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6903614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478610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604041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114353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9927666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0928427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1477597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C3DB68-48A6-4BD4-8F48-AAADA9C9FE92}" type="datetimeFigureOut">
              <a:rPr lang="ru-RU" smtClean="0"/>
              <a:pPr/>
              <a:t>31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2B90C3-34E9-47BB-BF57-6DFA0E8AB69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735510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image" Target="../media/image8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image" Target="../media/image10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35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4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chart" Target="../charts/chart1.xml"/><Relationship Id="rId5" Type="http://schemas.openxmlformats.org/officeDocument/2006/relationships/tags" Target="../tags/tag37.xml"/><Relationship Id="rId10" Type="http://schemas.openxmlformats.org/officeDocument/2006/relationships/image" Target="../media/image13.png"/><Relationship Id="rId4" Type="http://schemas.openxmlformats.org/officeDocument/2006/relationships/tags" Target="../tags/tag36.xml"/><Relationship Id="rId9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184760"/>
            <a:ext cx="9144000" cy="67324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550870" y="2864534"/>
            <a:ext cx="5857875" cy="41866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ru-RU" sz="2000" b="1" dirty="0" smtClean="0"/>
              <a:t>Строительство завода по производству крепких спиртных </a:t>
            </a:r>
          </a:p>
          <a:p>
            <a:pPr algn="ctr"/>
            <a:r>
              <a:rPr lang="ru-RU" sz="2000" b="1" dirty="0" smtClean="0"/>
              <a:t>и безалкогольных напитков, включая производство сиропов</a:t>
            </a:r>
            <a:endParaRPr lang="ru-RU" sz="20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35067" y="5569766"/>
            <a:ext cx="8489483" cy="0"/>
          </a:xfrm>
          <a:prstGeom prst="line">
            <a:avLst/>
          </a:prstGeom>
          <a:ln w="15875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52966" y="5689402"/>
            <a:ext cx="5157265" cy="32769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ru-RU" sz="1400" b="1" dirty="0">
                <a:solidFill>
                  <a:schemeClr val="accent3">
                    <a:lumMod val="50000"/>
                  </a:schemeClr>
                </a:solidFill>
              </a:rPr>
              <a:t>Инициатор проекта</a:t>
            </a:r>
            <a:r>
              <a:rPr lang="en-US" sz="1400" b="1" dirty="0">
                <a:solidFill>
                  <a:schemeClr val="accent3">
                    <a:lumMod val="50000"/>
                  </a:schemeClr>
                </a:solidFill>
              </a:rPr>
              <a:t>: </a:t>
            </a: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</a:rPr>
              <a:t>АО «Агентство по привлечению инвестиций Курской области»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521345" y="4845532"/>
            <a:ext cx="2305052" cy="55847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en-US" sz="3600" b="1" dirty="0">
                <a:solidFill>
                  <a:schemeClr val="accent3">
                    <a:lumMod val="50000"/>
                  </a:schemeClr>
                </a:solidFill>
              </a:rPr>
              <a:t>2020</a:t>
            </a:r>
            <a:endParaRPr lang="ru-RU" sz="36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863997" y="5687496"/>
            <a:ext cx="3962400" cy="33150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ru-RU" sz="1400" b="1" dirty="0">
                <a:solidFill>
                  <a:schemeClr val="accent3">
                    <a:lumMod val="50000"/>
                  </a:schemeClr>
                </a:solidFill>
              </a:rPr>
              <a:t>Курская область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0" y="629174"/>
            <a:ext cx="9144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0" y="6267974"/>
            <a:ext cx="9144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4047053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>
          <a:xfrm>
            <a:off x="0" y="-2"/>
            <a:ext cx="9144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39388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РЕЗЮМЕ ПРОЕКТА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850053" y="876022"/>
            <a:ext cx="4231168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КЛЮЧЕВЫЕ ПОКАЗАТЕЛИ ПРОЕКТА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223132" y="4182210"/>
            <a:ext cx="4381915" cy="2419003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en-US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5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лрд.руб. – потребность в инвестициях</a:t>
            </a: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нициатором проекта является Администрация Курской области. В настоящее время АО «Агентство по привлечению инвестиций Курской области» ведется поиск  компании, которая сможет реализовать инициативу региональных органов исполнительной власти . 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23133" y="4069476"/>
            <a:ext cx="4376891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ПОТРЕБНОСТЬ В ИНВЕСТИЦИЯХ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3331923" y="31255"/>
            <a:ext cx="5661075" cy="6463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</a:rPr>
              <a:t>Курская область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Строительство завода по производству крепких спиртных и безалкогольных напитков, включая производство сиропов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23133" y="1012156"/>
            <a:ext cx="4447221" cy="2131877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оздается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омплекс по  производству крепких спиртных и безалкогольных напитков, включая производство сиропов.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сновная продукция –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пиртные напитки, безалкогольные напитки, спирт. 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ощность: готовая продукция (алкогольная) - 1,343 </a:t>
            </a:r>
            <a:r>
              <a:rPr lang="ru-RU" sz="105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лн.далл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, готовая продукция безалкогольная- 5 млн. бут. в год объемом от 0,7 до 1,5 л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 smtClean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23134" y="876022"/>
            <a:ext cx="4447221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ОПИСАНИЕ ПРОЕКТ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93463" y="922838"/>
            <a:ext cx="317019" cy="317019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973666" y="925909"/>
            <a:ext cx="317019" cy="310923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09288" y="4093215"/>
            <a:ext cx="317019" cy="317019"/>
          </a:xfrm>
          <a:prstGeom prst="rect">
            <a:avLst/>
          </a:prstGeom>
        </p:spPr>
      </p:pic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616570018"/>
              </p:ext>
            </p:extLst>
          </p:nvPr>
        </p:nvGraphicFramePr>
        <p:xfrm>
          <a:off x="4863759" y="1285323"/>
          <a:ext cx="4217461" cy="4041173"/>
        </p:xfrm>
        <a:graphic>
          <a:graphicData uri="http://schemas.openxmlformats.org/drawingml/2006/table">
            <a:tbl>
              <a:tblPr bandRow="1">
                <a:tableStyleId>{8FD4443E-F989-4FC4-A0C8-D5A2AF1F390B}</a:tableStyleId>
              </a:tblPr>
              <a:tblGrid>
                <a:gridCol w="22866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93077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776186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Текущий статус 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Проработка</a:t>
                      </a:r>
                      <a:r>
                        <a:rPr lang="ru-RU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инициативы, сформулированной по итогам оценки 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рынка 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26410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Ежегодная выручк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,1 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млрд.руб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31483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Общий объем инвестиций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,5 млрд.руб</a:t>
                      </a:r>
                      <a:r>
                        <a:rPr lang="ru-RU" sz="1500" b="0" dirty="0" smtClean="0">
                          <a:solidFill>
                            <a:srgbClr val="00B050"/>
                          </a:solidFill>
                        </a:rPr>
                        <a:t>.</a:t>
                      </a:r>
                      <a:endParaRPr lang="ru-RU" sz="1500" b="0" dirty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5741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NPV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,328 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млрд.руб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65742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IRR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20,3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65742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PP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5,5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Ставка дисконтирования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6,1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Период планирования проект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0</a:t>
                      </a:r>
                      <a:r>
                        <a:rPr lang="ru-RU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лет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Срок строительства </a:t>
                      </a:r>
                      <a:r>
                        <a:rPr lang="ru-RU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завода 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20 </a:t>
                      </a:r>
                      <a:r>
                        <a:rPr lang="ru-RU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месяцев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521838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5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1805497"/>
            <a:ext cx="9144000" cy="3771979"/>
          </a:xfrm>
          <a:prstGeom prst="rect">
            <a:avLst/>
          </a:prstGeom>
          <a:solidFill>
            <a:schemeClr val="bg1">
              <a:lumMod val="95000"/>
              <a:alpha val="55000"/>
            </a:schemeClr>
          </a:solidFill>
        </p:spPr>
        <p:txBody>
          <a:bodyPr wrap="square" lIns="108000" tIns="108000" rIns="324000" bIns="108000">
            <a:noAutofit/>
          </a:bodyPr>
          <a:lstStyle/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оздается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омплекс по  производству крепких спиртных и безалкогольных напитков, включая производство сиропов.</a:t>
            </a:r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До недавнего времени на территории региона производился настоянный на травах бальзам «Стрелецкая степь», являвшийся одним из узнаваемых </a:t>
            </a:r>
            <a:r>
              <a:rPr lang="ru-RU" sz="110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брэндов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не только в России, но и за рубежом. Учитывая наличие квалифицированного персонала и растущий спрос на экологически чистую продукцию, прорабатывается вопрос о возрождении производства напитков, содержащих натуральные экстракты.</a:t>
            </a:r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ланируемый срок ввода в эксплуатацию -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025 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од.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водится анализ имеющихся свободных земельных участков. Для реализации проекта определен участок в городе Курске.</a:t>
            </a:r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едусмотрено строительство производственного и административного зданий, объектов инженерной и транспортной инфраструктуры, включая производственные и складские здания, проезды, автодороги и логистические площадки, систему электро-, газо- водоснабжения и водоотведения (увеличение мощности сетей). 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ектом предполагается приобретение импортного технологического оборудования (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талия).  </a:t>
            </a:r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сновные потребители продукции проекта – розничные сети и супермаркеты, расположенные на территории Центрального федерального округа  и Южного федерального округа .  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14325" y="172522"/>
            <a:ext cx="502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ОПИСАНИЕ ПРОЕКТА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0" y="1830573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0" y="5577476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ятиугольник 30"/>
          <p:cNvSpPr/>
          <p:nvPr/>
        </p:nvSpPr>
        <p:spPr>
          <a:xfrm>
            <a:off x="215912" y="848796"/>
            <a:ext cx="2747539" cy="870947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811" y="925828"/>
            <a:ext cx="426070" cy="426070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707621" y="848795"/>
            <a:ext cx="2255830" cy="8709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Местонахождение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>
                <a:solidFill>
                  <a:schemeClr val="accent3">
                    <a:lumMod val="50000"/>
                  </a:schemeClr>
                </a:solidFill>
              </a:rPr>
              <a:t>Курская область, </a:t>
            </a:r>
          </a:p>
          <a:p>
            <a:pPr>
              <a:lnSpc>
                <a:spcPct val="114000"/>
              </a:lnSpc>
            </a:pP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</a:rPr>
              <a:t>город Курск</a:t>
            </a: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7" name="Пятиугольник 36"/>
          <p:cNvSpPr/>
          <p:nvPr/>
        </p:nvSpPr>
        <p:spPr>
          <a:xfrm>
            <a:off x="3178708" y="848797"/>
            <a:ext cx="2586771" cy="870946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671072" y="848795"/>
            <a:ext cx="2094407" cy="6990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Отрасль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</a:rPr>
              <a:t>производство алкогольной/безалкогольной продукции</a:t>
            </a: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0567" y="912566"/>
            <a:ext cx="307472" cy="307472"/>
          </a:xfrm>
          <a:prstGeom prst="rect">
            <a:avLst/>
          </a:prstGeom>
        </p:spPr>
      </p:pic>
      <p:sp>
        <p:nvSpPr>
          <p:cNvPr id="40" name="Пятиугольник 39"/>
          <p:cNvSpPr/>
          <p:nvPr/>
        </p:nvSpPr>
        <p:spPr>
          <a:xfrm>
            <a:off x="5984191" y="848796"/>
            <a:ext cx="2933306" cy="870947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6473100" y="848795"/>
            <a:ext cx="2444397" cy="8709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Тип проекта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>
                <a:solidFill>
                  <a:schemeClr val="accent3">
                    <a:lumMod val="50000"/>
                  </a:schemeClr>
                </a:solidFill>
              </a:rPr>
              <a:t>Создание нового производства</a:t>
            </a: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0015" y="885916"/>
            <a:ext cx="369680" cy="369680"/>
          </a:xfrm>
          <a:prstGeom prst="rect">
            <a:avLst/>
          </a:prstGeom>
        </p:spPr>
      </p:pic>
      <p:sp>
        <p:nvSpPr>
          <p:cNvPr id="43" name="Пятиугольник 42"/>
          <p:cNvSpPr/>
          <p:nvPr/>
        </p:nvSpPr>
        <p:spPr>
          <a:xfrm>
            <a:off x="215912" y="5762229"/>
            <a:ext cx="4171530" cy="946578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698130" y="5762229"/>
            <a:ext cx="3689312" cy="9465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Инициатор проекта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>
                <a:solidFill>
                  <a:schemeClr val="accent3">
                    <a:lumMod val="50000"/>
                  </a:schemeClr>
                </a:solidFill>
              </a:rPr>
              <a:t>АО «Агентство по привлечению инвестиций Курской области»</a:t>
            </a:r>
          </a:p>
          <a:p>
            <a:pPr>
              <a:lnSpc>
                <a:spcPct val="114000"/>
              </a:lnSpc>
            </a:pP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568" y="5829409"/>
            <a:ext cx="343539" cy="343539"/>
          </a:xfrm>
          <a:prstGeom prst="rect">
            <a:avLst/>
          </a:prstGeom>
        </p:spPr>
      </p:pic>
      <p:sp>
        <p:nvSpPr>
          <p:cNvPr id="46" name="Пятиугольник 45"/>
          <p:cNvSpPr/>
          <p:nvPr/>
        </p:nvSpPr>
        <p:spPr>
          <a:xfrm>
            <a:off x="4603354" y="5762229"/>
            <a:ext cx="4314143" cy="946578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5084917" y="5762228"/>
            <a:ext cx="3832580" cy="946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Проектная мощность в год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</a:rPr>
              <a:t>Готовая продукция (алкогольная) - 1,343 </a:t>
            </a:r>
            <a:r>
              <a:rPr lang="ru-RU" sz="1100" dirty="0" err="1" smtClean="0">
                <a:solidFill>
                  <a:schemeClr val="accent3">
                    <a:lumMod val="50000"/>
                  </a:schemeClr>
                </a:solidFill>
              </a:rPr>
              <a:t>млн.далл</a:t>
            </a: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</a:rPr>
              <a:t>.</a:t>
            </a:r>
          </a:p>
          <a:p>
            <a:pPr>
              <a:lnSpc>
                <a:spcPct val="114000"/>
              </a:lnSpc>
            </a:pP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</a:rPr>
              <a:t>Готовая продукция безалкогольная- 5 млн. бут. в год объемом от 0,7 до 1,5 л</a:t>
            </a:r>
          </a:p>
          <a:p>
            <a:pPr>
              <a:lnSpc>
                <a:spcPct val="114000"/>
              </a:lnSpc>
            </a:pPr>
            <a:endParaRPr lang="ru-RU" sz="1100" dirty="0">
              <a:solidFill>
                <a:srgbClr val="FF0000"/>
              </a:solidFill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7402" y="5847982"/>
            <a:ext cx="306391" cy="306391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3331923" y="31255"/>
            <a:ext cx="5661075" cy="6463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</a:rPr>
              <a:t>Курская область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Строительство завода по производству крепких спиртных и безалкогольных напитков, включая производство сиропов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312639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4" name="Рисунок 14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070" y="794020"/>
            <a:ext cx="3817735" cy="195186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4" y="84840"/>
            <a:ext cx="58521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МЕСТОПОЛОЖЕНИЕ ПРОЕКТА,  </a:t>
            </a:r>
            <a:endParaRPr lang="ru-RU" b="1" dirty="0" smtClean="0">
              <a:solidFill>
                <a:schemeClr val="bg1"/>
              </a:solidFill>
            </a:endParaRPr>
          </a:p>
          <a:p>
            <a:r>
              <a:rPr lang="ru-RU" b="1" dirty="0" smtClean="0">
                <a:solidFill>
                  <a:schemeClr val="bg1"/>
                </a:solidFill>
              </a:rPr>
              <a:t>ГРАФИК </a:t>
            </a:r>
            <a:r>
              <a:rPr lang="ru-RU" b="1" dirty="0">
                <a:solidFill>
                  <a:schemeClr val="bg1"/>
                </a:solidFill>
              </a:rPr>
              <a:t>РЕАЛИЗАЦИИ </a:t>
            </a:r>
          </a:p>
        </p:txBody>
      </p:sp>
      <p:sp>
        <p:nvSpPr>
          <p:cNvPr id="35" name="Пятиугольник 34"/>
          <p:cNvSpPr/>
          <p:nvPr/>
        </p:nvSpPr>
        <p:spPr>
          <a:xfrm>
            <a:off x="314325" y="4916671"/>
            <a:ext cx="1539527" cy="571164"/>
          </a:xfrm>
          <a:prstGeom prst="homePlate">
            <a:avLst>
              <a:gd name="adj" fmla="val 15519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Разработка проектной документации</a:t>
            </a:r>
          </a:p>
          <a:p>
            <a:r>
              <a:rPr lang="ru-RU" sz="1000" dirty="0">
                <a:solidFill>
                  <a:schemeClr val="tx1"/>
                </a:solidFill>
              </a:rPr>
              <a:t>Оформление права на земельный </a:t>
            </a:r>
            <a:r>
              <a:rPr lang="ru-RU" sz="1000" dirty="0" smtClean="0">
                <a:solidFill>
                  <a:schemeClr val="tx1"/>
                </a:solidFill>
              </a:rPr>
              <a:t>участок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6" name="Пятиугольник 35"/>
          <p:cNvSpPr/>
          <p:nvPr/>
        </p:nvSpPr>
        <p:spPr>
          <a:xfrm>
            <a:off x="1606612" y="5448298"/>
            <a:ext cx="1905000" cy="986058"/>
          </a:xfrm>
          <a:prstGeom prst="homePlate">
            <a:avLst>
              <a:gd name="adj" fmla="val 3108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.</a:t>
            </a:r>
            <a:endParaRPr lang="ru-RU" sz="1000" dirty="0">
              <a:solidFill>
                <a:schemeClr val="tx1"/>
              </a:solidFill>
            </a:endParaRPr>
          </a:p>
          <a:p>
            <a:r>
              <a:rPr lang="ru-RU" sz="1000" dirty="0" smtClean="0">
                <a:solidFill>
                  <a:schemeClr val="tx1"/>
                </a:solidFill>
              </a:rPr>
              <a:t>Привлечение финансирования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Получение разрешения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на строительство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Начало строительных работ</a:t>
            </a:r>
          </a:p>
        </p:txBody>
      </p:sp>
      <p:sp>
        <p:nvSpPr>
          <p:cNvPr id="37" name="Пятиугольник 36"/>
          <p:cNvSpPr/>
          <p:nvPr/>
        </p:nvSpPr>
        <p:spPr>
          <a:xfrm>
            <a:off x="3208874" y="5473874"/>
            <a:ext cx="1905000" cy="1231725"/>
          </a:xfrm>
          <a:prstGeom prst="homePlate">
            <a:avLst>
              <a:gd name="adj" fmla="val 3108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Строительство производственных объектов и инфраструктуры.</a:t>
            </a:r>
          </a:p>
        </p:txBody>
      </p:sp>
      <p:sp>
        <p:nvSpPr>
          <p:cNvPr id="38" name="Пятиугольник 37"/>
          <p:cNvSpPr/>
          <p:nvPr/>
        </p:nvSpPr>
        <p:spPr>
          <a:xfrm>
            <a:off x="5232530" y="4867442"/>
            <a:ext cx="1309734" cy="1483253"/>
          </a:xfrm>
          <a:prstGeom prst="homePlate">
            <a:avLst>
              <a:gd name="adj" fmla="val 1569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Приобретение оборудования.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Монтаж оборудования. 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Ввод  завода </a:t>
            </a:r>
            <a:r>
              <a:rPr lang="ru-RU" sz="1000" dirty="0">
                <a:solidFill>
                  <a:schemeClr val="tx1"/>
                </a:solidFill>
              </a:rPr>
              <a:t>в эксплуатацию. </a:t>
            </a:r>
          </a:p>
        </p:txBody>
      </p:sp>
      <p:sp>
        <p:nvSpPr>
          <p:cNvPr id="40" name="Пятиугольник 39"/>
          <p:cNvSpPr/>
          <p:nvPr/>
        </p:nvSpPr>
        <p:spPr>
          <a:xfrm>
            <a:off x="7117487" y="4683977"/>
            <a:ext cx="1020599" cy="656887"/>
          </a:xfrm>
          <a:prstGeom prst="homePlate">
            <a:avLst>
              <a:gd name="adj" fmla="val 17353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Выход на проектную мощность</a:t>
            </a:r>
          </a:p>
        </p:txBody>
      </p:sp>
      <p:pic>
        <p:nvPicPr>
          <p:cNvPr id="115" name="Рисунок 114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9884" y="1847597"/>
            <a:ext cx="2723455" cy="2238966"/>
          </a:xfrm>
          <a:prstGeom prst="rect">
            <a:avLst/>
          </a:prstGeom>
        </p:spPr>
      </p:pic>
      <p:sp>
        <p:nvSpPr>
          <p:cNvPr id="116" name="Овал 115"/>
          <p:cNvSpPr/>
          <p:nvPr>
            <p:custDataLst>
              <p:tags r:id="rId3"/>
            </p:custDataLst>
          </p:nvPr>
        </p:nvSpPr>
        <p:spPr>
          <a:xfrm>
            <a:off x="3997149" y="2579364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7" name="Овал 116"/>
          <p:cNvSpPr/>
          <p:nvPr>
            <p:custDataLst>
              <p:tags r:id="rId4"/>
            </p:custDataLst>
          </p:nvPr>
        </p:nvSpPr>
        <p:spPr>
          <a:xfrm>
            <a:off x="3873131" y="2756132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8" name="Овал 117"/>
          <p:cNvSpPr/>
          <p:nvPr>
            <p:custDataLst>
              <p:tags r:id="rId5"/>
            </p:custDataLst>
          </p:nvPr>
        </p:nvSpPr>
        <p:spPr>
          <a:xfrm>
            <a:off x="3634728" y="2820805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9" name="Овал 118"/>
          <p:cNvSpPr/>
          <p:nvPr>
            <p:custDataLst>
              <p:tags r:id="rId6"/>
            </p:custDataLst>
          </p:nvPr>
        </p:nvSpPr>
        <p:spPr>
          <a:xfrm>
            <a:off x="3238613" y="3527811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0" name="Овал 119"/>
          <p:cNvSpPr/>
          <p:nvPr>
            <p:custDataLst>
              <p:tags r:id="rId7"/>
            </p:custDataLst>
          </p:nvPr>
        </p:nvSpPr>
        <p:spPr>
          <a:xfrm>
            <a:off x="3076422" y="2934743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1" name="Овал 120"/>
          <p:cNvSpPr/>
          <p:nvPr>
            <p:custDataLst>
              <p:tags r:id="rId8"/>
            </p:custDataLst>
          </p:nvPr>
        </p:nvSpPr>
        <p:spPr>
          <a:xfrm>
            <a:off x="2954067" y="2685410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2" name="Овал 121"/>
          <p:cNvSpPr/>
          <p:nvPr>
            <p:custDataLst>
              <p:tags r:id="rId9"/>
            </p:custDataLst>
          </p:nvPr>
        </p:nvSpPr>
        <p:spPr>
          <a:xfrm>
            <a:off x="3354672" y="2233664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3" name="Овал 122"/>
          <p:cNvSpPr/>
          <p:nvPr>
            <p:custDataLst>
              <p:tags r:id="rId10"/>
            </p:custDataLst>
          </p:nvPr>
        </p:nvSpPr>
        <p:spPr>
          <a:xfrm>
            <a:off x="2669522" y="2298337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4" name="Овал 123"/>
          <p:cNvSpPr/>
          <p:nvPr>
            <p:custDataLst>
              <p:tags r:id="rId11"/>
            </p:custDataLst>
          </p:nvPr>
        </p:nvSpPr>
        <p:spPr>
          <a:xfrm>
            <a:off x="2552731" y="2750083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5" name="Овал 124"/>
          <p:cNvSpPr/>
          <p:nvPr>
            <p:custDataLst>
              <p:tags r:id="rId12"/>
            </p:custDataLst>
          </p:nvPr>
        </p:nvSpPr>
        <p:spPr>
          <a:xfrm>
            <a:off x="2707554" y="2981565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7" name="Овал 126"/>
          <p:cNvSpPr/>
          <p:nvPr>
            <p:custDataLst>
              <p:tags r:id="rId13"/>
            </p:custDataLst>
          </p:nvPr>
        </p:nvSpPr>
        <p:spPr>
          <a:xfrm>
            <a:off x="2419556" y="3439864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8" name="TextBox 127"/>
          <p:cNvSpPr txBox="1"/>
          <p:nvPr>
            <p:custDataLst>
              <p:tags r:id="rId14"/>
            </p:custDataLst>
          </p:nvPr>
        </p:nvSpPr>
        <p:spPr>
          <a:xfrm>
            <a:off x="3629342" y="2284953"/>
            <a:ext cx="6222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Ярославль</a:t>
            </a:r>
          </a:p>
        </p:txBody>
      </p:sp>
      <p:sp>
        <p:nvSpPr>
          <p:cNvPr id="129" name="TextBox 128"/>
          <p:cNvSpPr txBox="1"/>
          <p:nvPr>
            <p:custDataLst>
              <p:tags r:id="rId15"/>
            </p:custDataLst>
          </p:nvPr>
        </p:nvSpPr>
        <p:spPr>
          <a:xfrm>
            <a:off x="3994768" y="2486129"/>
            <a:ext cx="59984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Кострома</a:t>
            </a:r>
          </a:p>
        </p:txBody>
      </p:sp>
      <p:sp>
        <p:nvSpPr>
          <p:cNvPr id="130" name="TextBox 129"/>
          <p:cNvSpPr txBox="1"/>
          <p:nvPr>
            <p:custDataLst>
              <p:tags r:id="rId16"/>
            </p:custDataLst>
          </p:nvPr>
        </p:nvSpPr>
        <p:spPr>
          <a:xfrm>
            <a:off x="3391205" y="2944009"/>
            <a:ext cx="4748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Рязань</a:t>
            </a:r>
          </a:p>
        </p:txBody>
      </p:sp>
      <p:sp>
        <p:nvSpPr>
          <p:cNvPr id="131" name="TextBox 130"/>
          <p:cNvSpPr txBox="1"/>
          <p:nvPr>
            <p:custDataLst>
              <p:tags r:id="rId17"/>
            </p:custDataLst>
          </p:nvPr>
        </p:nvSpPr>
        <p:spPr>
          <a:xfrm>
            <a:off x="3037074" y="3237885"/>
            <a:ext cx="4892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Липецк</a:t>
            </a:r>
          </a:p>
        </p:txBody>
      </p:sp>
      <p:sp>
        <p:nvSpPr>
          <p:cNvPr id="132" name="TextBox 131"/>
          <p:cNvSpPr txBox="1"/>
          <p:nvPr>
            <p:custDataLst>
              <p:tags r:id="rId18"/>
            </p:custDataLst>
          </p:nvPr>
        </p:nvSpPr>
        <p:spPr>
          <a:xfrm>
            <a:off x="2547663" y="3505597"/>
            <a:ext cx="5549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Воронеж</a:t>
            </a:r>
          </a:p>
        </p:txBody>
      </p:sp>
      <p:sp>
        <p:nvSpPr>
          <p:cNvPr id="133" name="TextBox 132"/>
          <p:cNvSpPr txBox="1"/>
          <p:nvPr>
            <p:custDataLst>
              <p:tags r:id="rId19"/>
            </p:custDataLst>
          </p:nvPr>
        </p:nvSpPr>
        <p:spPr>
          <a:xfrm>
            <a:off x="3258759" y="3428658"/>
            <a:ext cx="49564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Тамбов</a:t>
            </a:r>
          </a:p>
        </p:txBody>
      </p:sp>
      <p:sp>
        <p:nvSpPr>
          <p:cNvPr id="134" name="TextBox 133"/>
          <p:cNvSpPr txBox="1"/>
          <p:nvPr>
            <p:custDataLst>
              <p:tags r:id="rId20"/>
            </p:custDataLst>
          </p:nvPr>
        </p:nvSpPr>
        <p:spPr>
          <a:xfrm>
            <a:off x="3178972" y="2039208"/>
            <a:ext cx="4283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Тверь</a:t>
            </a:r>
          </a:p>
        </p:txBody>
      </p:sp>
      <p:sp>
        <p:nvSpPr>
          <p:cNvPr id="135" name="TextBox 134"/>
          <p:cNvSpPr txBox="1"/>
          <p:nvPr>
            <p:custDataLst>
              <p:tags r:id="rId21"/>
            </p:custDataLst>
          </p:nvPr>
        </p:nvSpPr>
        <p:spPr>
          <a:xfrm>
            <a:off x="2272926" y="2104673"/>
            <a:ext cx="5838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Смоленск</a:t>
            </a:r>
          </a:p>
        </p:txBody>
      </p:sp>
      <p:sp>
        <p:nvSpPr>
          <p:cNvPr id="136" name="TextBox 135"/>
          <p:cNvSpPr txBox="1"/>
          <p:nvPr>
            <p:custDataLst>
              <p:tags r:id="rId22"/>
            </p:custDataLst>
          </p:nvPr>
        </p:nvSpPr>
        <p:spPr>
          <a:xfrm>
            <a:off x="2159760" y="2640479"/>
            <a:ext cx="4732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Брянск</a:t>
            </a:r>
          </a:p>
        </p:txBody>
      </p:sp>
      <p:sp>
        <p:nvSpPr>
          <p:cNvPr id="137" name="TextBox 136"/>
          <p:cNvSpPr txBox="1"/>
          <p:nvPr>
            <p:custDataLst>
              <p:tags r:id="rId23"/>
            </p:custDataLst>
          </p:nvPr>
        </p:nvSpPr>
        <p:spPr>
          <a:xfrm>
            <a:off x="2670600" y="2675940"/>
            <a:ext cx="45878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Калуга</a:t>
            </a:r>
          </a:p>
        </p:txBody>
      </p:sp>
      <p:sp>
        <p:nvSpPr>
          <p:cNvPr id="138" name="TextBox 137"/>
          <p:cNvSpPr txBox="1"/>
          <p:nvPr>
            <p:custDataLst>
              <p:tags r:id="rId24"/>
            </p:custDataLst>
          </p:nvPr>
        </p:nvSpPr>
        <p:spPr>
          <a:xfrm>
            <a:off x="3071364" y="2828945"/>
            <a:ext cx="3706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Тула</a:t>
            </a:r>
          </a:p>
        </p:txBody>
      </p:sp>
      <p:sp>
        <p:nvSpPr>
          <p:cNvPr id="139" name="TextBox 138"/>
          <p:cNvSpPr txBox="1"/>
          <p:nvPr>
            <p:custDataLst>
              <p:tags r:id="rId25"/>
            </p:custDataLst>
          </p:nvPr>
        </p:nvSpPr>
        <p:spPr>
          <a:xfrm>
            <a:off x="3634728" y="2759095"/>
            <a:ext cx="6094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Владимир</a:t>
            </a:r>
          </a:p>
        </p:txBody>
      </p:sp>
      <p:sp>
        <p:nvSpPr>
          <p:cNvPr id="140" name="TextBox 139"/>
          <p:cNvSpPr txBox="1"/>
          <p:nvPr>
            <p:custDataLst>
              <p:tags r:id="rId26"/>
            </p:custDataLst>
          </p:nvPr>
        </p:nvSpPr>
        <p:spPr>
          <a:xfrm>
            <a:off x="3878310" y="2652958"/>
            <a:ext cx="54373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Иваново</a:t>
            </a:r>
          </a:p>
        </p:txBody>
      </p:sp>
      <p:sp>
        <p:nvSpPr>
          <p:cNvPr id="141" name="TextBox 140"/>
          <p:cNvSpPr txBox="1"/>
          <p:nvPr>
            <p:custDataLst>
              <p:tags r:id="rId27"/>
            </p:custDataLst>
          </p:nvPr>
        </p:nvSpPr>
        <p:spPr>
          <a:xfrm>
            <a:off x="2550198" y="2991752"/>
            <a:ext cx="3898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Орёл</a:t>
            </a:r>
          </a:p>
        </p:txBody>
      </p:sp>
      <p:sp>
        <p:nvSpPr>
          <p:cNvPr id="142" name="TextBox 141"/>
          <p:cNvSpPr txBox="1"/>
          <p:nvPr>
            <p:custDataLst>
              <p:tags r:id="rId28"/>
            </p:custDataLst>
          </p:nvPr>
        </p:nvSpPr>
        <p:spPr>
          <a:xfrm>
            <a:off x="2128297" y="3088537"/>
            <a:ext cx="41549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Курск</a:t>
            </a:r>
          </a:p>
        </p:txBody>
      </p:sp>
      <p:sp>
        <p:nvSpPr>
          <p:cNvPr id="143" name="TextBox 142"/>
          <p:cNvSpPr txBox="1"/>
          <p:nvPr>
            <p:custDataLst>
              <p:tags r:id="rId29"/>
            </p:custDataLst>
          </p:nvPr>
        </p:nvSpPr>
        <p:spPr>
          <a:xfrm>
            <a:off x="1994701" y="3247243"/>
            <a:ext cx="57419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latin typeface="Myriad Pro Cond" pitchFamily="34" charset="0"/>
              </a:rPr>
              <a:t>Белгород</a:t>
            </a:r>
          </a:p>
        </p:txBody>
      </p:sp>
      <p:sp>
        <p:nvSpPr>
          <p:cNvPr id="145" name="Овал 144"/>
          <p:cNvSpPr/>
          <p:nvPr>
            <p:custDataLst>
              <p:tags r:id="rId30"/>
            </p:custDataLst>
          </p:nvPr>
        </p:nvSpPr>
        <p:spPr>
          <a:xfrm>
            <a:off x="1953393" y="1489338"/>
            <a:ext cx="2984454" cy="2984454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46" name="Прямая соединительная линия 145"/>
          <p:cNvCxnSpPr/>
          <p:nvPr>
            <p:custDataLst>
              <p:tags r:id="rId31"/>
            </p:custDataLst>
          </p:nvPr>
        </p:nvCxnSpPr>
        <p:spPr>
          <a:xfrm>
            <a:off x="976624" y="1982871"/>
            <a:ext cx="1199276" cy="1796559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Прямая соединительная линия 146"/>
          <p:cNvCxnSpPr/>
          <p:nvPr/>
        </p:nvCxnSpPr>
        <p:spPr>
          <a:xfrm flipV="1">
            <a:off x="984935" y="1519346"/>
            <a:ext cx="2191473" cy="46352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Стрелка вправо 25"/>
          <p:cNvSpPr/>
          <p:nvPr/>
        </p:nvSpPr>
        <p:spPr>
          <a:xfrm>
            <a:off x="171451" y="4134188"/>
            <a:ext cx="8820148" cy="571500"/>
          </a:xfrm>
          <a:prstGeom prst="rightArrow">
            <a:avLst>
              <a:gd name="adj1" fmla="val 70000"/>
              <a:gd name="adj2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TextBox 26"/>
          <p:cNvSpPr txBox="1"/>
          <p:nvPr/>
        </p:nvSpPr>
        <p:spPr>
          <a:xfrm>
            <a:off x="609600" y="4225211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2022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393936" y="4225212"/>
            <a:ext cx="1546111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2023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388042" y="4225211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2024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378511" y="4225211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2025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181090" y="4225211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2026</a:t>
            </a:r>
          </a:p>
        </p:txBody>
      </p:sp>
      <p:sp>
        <p:nvSpPr>
          <p:cNvPr id="54" name="Овал 53"/>
          <p:cNvSpPr/>
          <p:nvPr>
            <p:custDataLst>
              <p:tags r:id="rId32"/>
            </p:custDataLst>
          </p:nvPr>
        </p:nvSpPr>
        <p:spPr>
          <a:xfrm>
            <a:off x="2789765" y="3742841"/>
            <a:ext cx="64673" cy="6467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Блок-схема: узел 54"/>
          <p:cNvSpPr/>
          <p:nvPr/>
        </p:nvSpPr>
        <p:spPr>
          <a:xfrm>
            <a:off x="2467627" y="3194137"/>
            <a:ext cx="45719" cy="62630"/>
          </a:xfrm>
          <a:prstGeom prst="flowChartConnector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3194137" y="2605414"/>
            <a:ext cx="237995" cy="18789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6" cstate="print"/>
          <a:srcRect/>
          <a:stretch>
            <a:fillRect/>
          </a:stretch>
        </p:blipFill>
        <p:spPr bwMode="auto">
          <a:xfrm>
            <a:off x="5118654" y="1853853"/>
            <a:ext cx="3912612" cy="2116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Блок-схема: узел 52"/>
          <p:cNvSpPr/>
          <p:nvPr/>
        </p:nvSpPr>
        <p:spPr>
          <a:xfrm>
            <a:off x="6753607" y="2657607"/>
            <a:ext cx="123185" cy="135698"/>
          </a:xfrm>
          <a:prstGeom prst="flowChartConnector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TextBox 58"/>
          <p:cNvSpPr txBox="1"/>
          <p:nvPr/>
        </p:nvSpPr>
        <p:spPr>
          <a:xfrm>
            <a:off x="3331923" y="31255"/>
            <a:ext cx="5661075" cy="6463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</a:rPr>
              <a:t>Курская область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Строительство завода по производству крепких спиртных 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и безалкогольных напитков, включая производство сиропов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702682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30146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ОБЗОР ОТРАСЛИ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3661662" y="886896"/>
            <a:ext cx="5331336" cy="2216653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108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прос на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алкогольные и безалкогольные напитки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в России стабильно  растет.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Цены на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алкогольные и безалкогольные напитки стабильны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жидается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асширения экспорта российской продукции на рынки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НГ. 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40484" y="3306173"/>
            <a:ext cx="30885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сновные производители </a:t>
            </a:r>
            <a:r>
              <a:rPr lang="ru-RU" sz="11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одки </a:t>
            </a:r>
            <a:r>
              <a:rPr lang="ru-RU" sz="11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 России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3661662" y="2740533"/>
            <a:ext cx="5331336" cy="2018497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108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ставки сырья будут осуществляться с территории Курской области, где имеется достаточный объем производства зерновых культур. 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меется возможность подготовки квалифицированных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адров </a:t>
            </a:r>
            <a:r>
              <a:rPr lang="ru-RU" sz="105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в </a:t>
            </a:r>
            <a:r>
              <a:rPr lang="ru-RU" sz="105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.Курске.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На подготовительной фазе проекта планируется проведение профессионального обучения кадровых ресурсов, планируется использовать кадровые ресурсы муниципального образования. </a:t>
            </a: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740257498"/>
              </p:ext>
            </p:extLst>
          </p:nvPr>
        </p:nvGraphicFramePr>
        <p:xfrm>
          <a:off x="3661662" y="5440667"/>
          <a:ext cx="5331336" cy="845301"/>
        </p:xfrm>
        <a:graphic>
          <a:graphicData uri="http://schemas.openxmlformats.org/drawingml/2006/table">
            <a:tbl>
              <a:tblPr bandRow="1">
                <a:tableStyleId>{00A15C55-8517-42AA-B614-E9B94910E393}</a:tableStyleId>
              </a:tblPr>
              <a:tblGrid>
                <a:gridCol w="332709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00424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81767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ООО ГК «</a:t>
                      </a:r>
                      <a:r>
                        <a:rPr lang="ru-RU" sz="1050" dirty="0" err="1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Промресурс</a:t>
                      </a:r>
                      <a:r>
                        <a:rPr lang="ru-RU" sz="105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» г. Курск</a:t>
                      </a: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5% производимой продукции</a:t>
                      </a:r>
                      <a:endParaRPr lang="ru-RU" sz="105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8176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АО «Корпорация «ГРИНН»</a:t>
                      </a:r>
                      <a:endParaRPr lang="ru-RU" sz="105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5% производимой продукции</a:t>
                      </a:r>
                      <a:endParaRPr lang="ru-RU" sz="105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8176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Поставки</a:t>
                      </a:r>
                      <a:r>
                        <a:rPr lang="ru-RU" sz="105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вне региона</a:t>
                      </a:r>
                      <a:endParaRPr lang="ru-RU" sz="105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70% производимой продукции</a:t>
                      </a:r>
                      <a:endParaRPr lang="ru-RU" sz="1050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3661663" y="881357"/>
            <a:ext cx="5331336" cy="323521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ОТРАСЛЕВЫЕ ТРЕНДЫ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5685" y="914277"/>
            <a:ext cx="280133" cy="271551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TextBox 35"/>
          <p:cNvSpPr txBox="1"/>
          <p:nvPr/>
        </p:nvSpPr>
        <p:spPr>
          <a:xfrm>
            <a:off x="3661662" y="2456978"/>
            <a:ext cx="5331336" cy="323187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ОБЕСПЕЧЕННОСТЬ РЕСУРСАМИ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251" y="2503565"/>
            <a:ext cx="280133" cy="271551"/>
          </a:xfrm>
          <a:prstGeom prst="rect">
            <a:avLst/>
          </a:prstGeom>
          <a:noFill/>
          <a:ln>
            <a:noFill/>
          </a:ln>
        </p:spPr>
      </p:pic>
      <p:sp>
        <p:nvSpPr>
          <p:cNvPr id="37" name="TextBox 36"/>
          <p:cNvSpPr txBox="1"/>
          <p:nvPr/>
        </p:nvSpPr>
        <p:spPr>
          <a:xfrm>
            <a:off x="3661662" y="4737946"/>
            <a:ext cx="5331336" cy="372209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ПОТЕНЦИАЛЬНЫЕ ПОТРЕБИТЕЛИ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9217" y="4782575"/>
            <a:ext cx="262825" cy="254773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0" name="Диаграмма 39"/>
          <p:cNvGraphicFramePr/>
          <p:nvPr/>
        </p:nvGraphicFramePr>
        <p:xfrm>
          <a:off x="1" y="3888954"/>
          <a:ext cx="3558448" cy="24429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41" name="TextBox 40"/>
          <p:cNvSpPr txBox="1"/>
          <p:nvPr>
            <p:custDataLst>
              <p:tags r:id="rId1"/>
            </p:custDataLst>
          </p:nvPr>
        </p:nvSpPr>
        <p:spPr>
          <a:xfrm>
            <a:off x="174729" y="4834591"/>
            <a:ext cx="6263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smtClean="0">
                <a:latin typeface="Myriad Pro Cond" pitchFamily="34" charset="0"/>
              </a:rPr>
              <a:t>Прочие производители</a:t>
            </a:r>
            <a:endParaRPr lang="ru-RU" sz="900" dirty="0">
              <a:latin typeface="Myriad Pro Cond" pitchFamily="34" charset="0"/>
            </a:endParaRPr>
          </a:p>
          <a:p>
            <a:pPr algn="ctr"/>
            <a:r>
              <a:rPr lang="ru-RU" sz="900" dirty="0">
                <a:latin typeface="Myriad Pro Cond" pitchFamily="34" charset="0"/>
              </a:rPr>
              <a:t>41%</a:t>
            </a:r>
          </a:p>
        </p:txBody>
      </p:sp>
      <p:sp>
        <p:nvSpPr>
          <p:cNvPr id="42" name="TextBox 41"/>
          <p:cNvSpPr txBox="1"/>
          <p:nvPr>
            <p:custDataLst>
              <p:tags r:id="rId2"/>
            </p:custDataLst>
          </p:nvPr>
        </p:nvSpPr>
        <p:spPr>
          <a:xfrm>
            <a:off x="1913577" y="3709019"/>
            <a:ext cx="6263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latin typeface="Myriad Pro Cond" pitchFamily="34" charset="0"/>
              </a:rPr>
              <a:t>Roust </a:t>
            </a:r>
            <a:endParaRPr lang="ru-RU" sz="900" dirty="0" smtClean="0">
              <a:latin typeface="Myriad Pro Cond" pitchFamily="34" charset="0"/>
            </a:endParaRPr>
          </a:p>
          <a:p>
            <a:pPr algn="ctr"/>
            <a:r>
              <a:rPr lang="ru-RU" sz="900" dirty="0" smtClean="0">
                <a:latin typeface="Myriad Pro Cond" pitchFamily="34" charset="0"/>
              </a:rPr>
              <a:t>11</a:t>
            </a:r>
            <a:r>
              <a:rPr lang="ru-RU" sz="900" dirty="0">
                <a:latin typeface="Myriad Pro Cond" pitchFamily="34" charset="0"/>
              </a:rPr>
              <a:t>%</a:t>
            </a:r>
          </a:p>
        </p:txBody>
      </p:sp>
      <p:sp>
        <p:nvSpPr>
          <p:cNvPr id="43" name="TextBox 42"/>
          <p:cNvSpPr txBox="1"/>
          <p:nvPr>
            <p:custDataLst>
              <p:tags r:id="rId3"/>
            </p:custDataLst>
          </p:nvPr>
        </p:nvSpPr>
        <p:spPr>
          <a:xfrm>
            <a:off x="2805954" y="4986991"/>
            <a:ext cx="62630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latin typeface="Myriad Pro Cond" pitchFamily="34" charset="0"/>
              </a:rPr>
              <a:t>Beluga Group </a:t>
            </a:r>
            <a:endParaRPr lang="ru-RU" sz="900" dirty="0" smtClean="0">
              <a:latin typeface="Myriad Pro Cond" pitchFamily="34" charset="0"/>
            </a:endParaRPr>
          </a:p>
          <a:p>
            <a:pPr algn="ctr"/>
            <a:r>
              <a:rPr lang="ru-RU" sz="900" dirty="0" smtClean="0">
                <a:latin typeface="Myriad Pro Cond" pitchFamily="34" charset="0"/>
              </a:rPr>
              <a:t>9 %</a:t>
            </a:r>
            <a:endParaRPr lang="ru-RU" sz="900" dirty="0">
              <a:latin typeface="Myriad Pro Cond" pitchFamily="34" charset="0"/>
            </a:endParaRPr>
          </a:p>
        </p:txBody>
      </p:sp>
      <p:sp>
        <p:nvSpPr>
          <p:cNvPr id="44" name="TextBox 43"/>
          <p:cNvSpPr txBox="1"/>
          <p:nvPr>
            <p:custDataLst>
              <p:tags r:id="rId4"/>
            </p:custDataLst>
          </p:nvPr>
        </p:nvSpPr>
        <p:spPr>
          <a:xfrm>
            <a:off x="2761886" y="4292920"/>
            <a:ext cx="9397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err="1" smtClean="0">
                <a:latin typeface="Myriad Pro Cond" pitchFamily="34" charset="0"/>
              </a:rPr>
              <a:t>Татспиртпром</a:t>
            </a:r>
            <a:r>
              <a:rPr lang="ru-RU" sz="900" dirty="0" smtClean="0">
                <a:latin typeface="Myriad Pro Cond" pitchFamily="34" charset="0"/>
              </a:rPr>
              <a:t> </a:t>
            </a:r>
          </a:p>
          <a:p>
            <a:pPr algn="ctr"/>
            <a:r>
              <a:rPr lang="ru-RU" sz="900" dirty="0" smtClean="0">
                <a:latin typeface="Myriad Pro Cond" pitchFamily="34" charset="0"/>
              </a:rPr>
              <a:t>10%</a:t>
            </a:r>
            <a:endParaRPr lang="ru-RU" sz="900" dirty="0">
              <a:latin typeface="Myriad Pro Cond" pitchFamily="34" charset="0"/>
            </a:endParaRPr>
          </a:p>
        </p:txBody>
      </p:sp>
      <p:sp>
        <p:nvSpPr>
          <p:cNvPr id="45" name="TextBox 44"/>
          <p:cNvSpPr txBox="1"/>
          <p:nvPr>
            <p:custDataLst>
              <p:tags r:id="rId5"/>
            </p:custDataLst>
          </p:nvPr>
        </p:nvSpPr>
        <p:spPr>
          <a:xfrm>
            <a:off x="2704963" y="5480918"/>
            <a:ext cx="8094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smtClean="0">
                <a:latin typeface="Myriad Pro Cond" pitchFamily="34" charset="0"/>
              </a:rPr>
              <a:t>Алкогольная сибирская группа </a:t>
            </a:r>
          </a:p>
          <a:p>
            <a:pPr algn="ctr"/>
            <a:r>
              <a:rPr lang="ru-RU" sz="900" dirty="0" smtClean="0">
                <a:latin typeface="Myriad Pro Cond" pitchFamily="34" charset="0"/>
              </a:rPr>
              <a:t>9 %</a:t>
            </a:r>
            <a:endParaRPr lang="ru-RU" sz="900" dirty="0">
              <a:latin typeface="Myriad Pro Cond" pitchFamily="34" charset="0"/>
            </a:endParaRPr>
          </a:p>
        </p:txBody>
      </p:sp>
      <p:sp>
        <p:nvSpPr>
          <p:cNvPr id="46" name="TextBox 45"/>
          <p:cNvSpPr txBox="1"/>
          <p:nvPr>
            <p:custDataLst>
              <p:tags r:id="rId6"/>
            </p:custDataLst>
          </p:nvPr>
        </p:nvSpPr>
        <p:spPr>
          <a:xfrm>
            <a:off x="2319368" y="5943632"/>
            <a:ext cx="62630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latin typeface="Myriad Pro Cond" pitchFamily="34" charset="0"/>
              </a:rPr>
              <a:t>Global Spirits </a:t>
            </a:r>
            <a:endParaRPr lang="ru-RU" sz="900" dirty="0" smtClean="0">
              <a:latin typeface="Myriad Pro Cond" pitchFamily="34" charset="0"/>
            </a:endParaRPr>
          </a:p>
          <a:p>
            <a:pPr algn="ctr"/>
            <a:r>
              <a:rPr lang="ru-RU" sz="900" dirty="0" smtClean="0">
                <a:latin typeface="Myriad Pro Cond" pitchFamily="34" charset="0"/>
              </a:rPr>
              <a:t>9 %</a:t>
            </a:r>
            <a:endParaRPr lang="ru-RU" sz="900" dirty="0">
              <a:latin typeface="Myriad Pro Cond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3331923" y="31255"/>
            <a:ext cx="5661075" cy="6463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</a:rPr>
              <a:t>Курская область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Строительство завода по производству крепких спиртных 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и безалкогольных напитков, включая производство сиропов</a:t>
            </a:r>
            <a:endParaRPr lang="ru-RU" sz="1200" b="1" dirty="0">
              <a:solidFill>
                <a:schemeClr val="bg1"/>
              </a:solidFill>
            </a:endParaRPr>
          </a:p>
        </p:txBody>
      </p:sp>
      <p:pic>
        <p:nvPicPr>
          <p:cNvPr id="7173" name="Picture 5" descr="https://aftershock.news/sites/default/files/u14743/foto/%D0%B0%D0%BB%D0%BA%D0%BE%D0%B3%D0%BE%D0%BB%D1%8C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21187" y="975390"/>
            <a:ext cx="3194890" cy="2222011"/>
          </a:xfrm>
          <a:prstGeom prst="rect">
            <a:avLst/>
          </a:prstGeom>
          <a:noFill/>
        </p:spPr>
      </p:pic>
      <p:sp>
        <p:nvSpPr>
          <p:cNvPr id="49" name="TextBox 48"/>
          <p:cNvSpPr txBox="1"/>
          <p:nvPr/>
        </p:nvSpPr>
        <p:spPr>
          <a:xfrm>
            <a:off x="1" y="920805"/>
            <a:ext cx="3620022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1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Объем рынка алкогольных напитков по видам</a:t>
            </a:r>
            <a:endParaRPr lang="ru-RU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74449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5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3848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ПРЕДЛОЖЕНИЕ  ИНВЕСТОРУ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3495470" y="886896"/>
            <a:ext cx="2222083" cy="10341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rgbClr val="820000"/>
                </a:solidFill>
              </a:rPr>
              <a:t>1,5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млрд. руб.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потребность в финансировании</a:t>
            </a:r>
            <a:endParaRPr lang="en-US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Проекта  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314326" y="4787588"/>
            <a:ext cx="8505824" cy="1703827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Финансирование инвестором проекта с последующей эксплуатацией производственного объекта в качестве собственника. Наличие </a:t>
            </a:r>
            <a:r>
              <a:rPr lang="ru-RU" sz="1200" dirty="0">
                <a:ea typeface="Calibri" panose="020F0502020204030204" pitchFamily="34" charset="0"/>
                <a:cs typeface="Times New Roman" panose="02020603050405020304" pitchFamily="18" charset="0"/>
              </a:rPr>
              <a:t>опыт а в реализации подобных проектов.</a:t>
            </a: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Администрация Курской области окажет содействие инвестору в предоставлении </a:t>
            </a:r>
            <a:r>
              <a:rPr lang="ru-RU" sz="1200" dirty="0">
                <a:ea typeface="Calibri" panose="020F0502020204030204" pitchFamily="34" charset="0"/>
                <a:cs typeface="Times New Roman" panose="02020603050405020304" pitchFamily="18" charset="0"/>
              </a:rPr>
              <a:t>земельного участка для реализации проекта в аренду без </a:t>
            </a:r>
            <a:r>
              <a:rPr lang="ru-RU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торгов на условиях действующего законодательства, будет осуществляться предоставление мер государственной поддержки инвесторов, предусмотренных действующим законодательством.</a:t>
            </a:r>
            <a:endParaRPr lang="ru-RU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30800" y="4812301"/>
            <a:ext cx="8505828" cy="405012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УСЛОВИЯ УЧАСТИЯ В ПРОЕКТЕ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66725" y="4819391"/>
            <a:ext cx="341406" cy="341406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3328467" y="2979144"/>
            <a:ext cx="2018501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5,5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лет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простой срок окупаемости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 (PP)</a:t>
            </a:r>
            <a:endParaRPr lang="ru-RU" sz="11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351857" y="2989804"/>
            <a:ext cx="2206053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20,3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%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внутренняя норма доходности (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IRR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314325" y="2992994"/>
            <a:ext cx="2292615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1,3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млрд. руб.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чистая приведенная стоимость (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NPV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)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466725" y="4604807"/>
            <a:ext cx="8353425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>
            <a:off x="450249" y="2257023"/>
            <a:ext cx="8353425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3331923" y="31255"/>
            <a:ext cx="5661075" cy="6463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</a:rPr>
              <a:t>Курская область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Строительство завода по производству крепких спиртных </a:t>
            </a:r>
          </a:p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и безалкогольных напитков, включая производство сиропов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116832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2933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КОНТАКТЫ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-7" y="2477711"/>
            <a:ext cx="9144003" cy="2343150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-3" y="2477711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4820861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726708245"/>
              </p:ext>
            </p:extLst>
          </p:nvPr>
        </p:nvGraphicFramePr>
        <p:xfrm>
          <a:off x="2047875" y="2944774"/>
          <a:ext cx="6610349" cy="1741978"/>
        </p:xfrm>
        <a:graphic>
          <a:graphicData uri="http://schemas.openxmlformats.org/drawingml/2006/table">
            <a:tbl>
              <a:tblPr bandRow="1">
                <a:tableStyleId>{8FD4443E-F989-4FC4-A0C8-D5A2AF1F390B}</a:tableStyleId>
              </a:tblPr>
              <a:tblGrid>
                <a:gridCol w="200025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61009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52642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Инициатор проекта</a:t>
                      </a:r>
                      <a:endParaRPr lang="ru-RU" sz="1400" b="1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108000" marT="36000" marB="36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АО «Агентство по привлечению инвестиций Курской области»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72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9057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Контактные  данные</a:t>
                      </a:r>
                      <a:endParaRPr lang="ru-RU" sz="1400" b="1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108000" marT="36000" marB="36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Романенко Артур Олегович</a:t>
                      </a:r>
                      <a:r>
                        <a:rPr lang="ru-RU" sz="14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– генеральный директор </a:t>
                      </a: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АО «Агентство по привлечению инвестиций Курской области»</a:t>
                      </a:r>
                      <a:endParaRPr lang="ru-RU" sz="1400" b="0" kern="120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Тел.</a:t>
                      </a: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: </a:t>
                      </a: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(4712) 70-70-47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e</a:t>
                      </a: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-</a:t>
                      </a: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mail:</a:t>
                      </a:r>
                      <a:r>
                        <a:rPr lang="en-US" sz="14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 </a:t>
                      </a:r>
                      <a:r>
                        <a:rPr lang="ru-RU" sz="14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kurskinvest@yandex.ru</a:t>
                      </a:r>
                      <a:endParaRPr lang="en-US" sz="1400" baseline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http://kurskoblinvest.ru/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72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589" y="2919190"/>
            <a:ext cx="890810" cy="89081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5782961" y="103059"/>
            <a:ext cx="326630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</a:rPr>
              <a:t>Курская область</a:t>
            </a:r>
          </a:p>
        </p:txBody>
      </p:sp>
    </p:spTree>
    <p:extLst>
      <p:ext uri="{BB962C8B-B14F-4D97-AF65-F5344CB8AC3E}">
        <p14:creationId xmlns="" xmlns:p14="http://schemas.microsoft.com/office/powerpoint/2010/main" val="37912176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XKasBbkUyno4HtC4UCu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1GIfq90EabiZXEcJwu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kGiSfSmE6HwKvhxclw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YEblKkEWxSmMS1W1X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y6iNPMJEmiEr0_qtNK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XSSwCU00a7SIqFp7nP8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LFdjAkA0e6XovsX12j.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AU3dKQdEasAUhuNBfo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tkTVwy30.hVjvC_eKGP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XAl0Oc0qjH.QnI_gqG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LnDoZayUqGUoTNWF91K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SBQToDfk27MU0WjAkN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hluksM8UG786FXIhVn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5f8nwfcEGhLGSoZwtM1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c5sJPnnEeWrhihNCk2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SZPHYcwkGFHotVPwAh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5f8nwfcEGhLGSoZwtM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aS.Ww2zEKOmsK2P2XG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nnHjHjjECkHby5t39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WM1rB.ckyQzBM8RKi6Eg"/>
</p:tagLst>
</file>

<file path=ppt/theme/theme1.xml><?xml version="1.0" encoding="utf-8"?>
<a:theme xmlns:a="http://schemas.openxmlformats.org/drawingml/2006/main" name="Тема Office">
  <a:themeElements>
    <a:clrScheme name="Главная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HeliosCond">
      <a:majorFont>
        <a:latin typeface="HeliosCond"/>
        <a:ea typeface=""/>
        <a:cs typeface=""/>
      </a:majorFont>
      <a:minorFont>
        <a:latin typeface="HeliosCond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3133</TotalTime>
  <Words>777</Words>
  <Application>Microsoft Office PowerPoint</Application>
  <PresentationFormat>Экран (4:3)</PresentationFormat>
  <Paragraphs>155</Paragraphs>
  <Slides>7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4" baseType="lpstr">
      <vt:lpstr>Arial</vt:lpstr>
      <vt:lpstr>HeliosCond</vt:lpstr>
      <vt:lpstr>Calibri</vt:lpstr>
      <vt:lpstr>Times New Roman</vt:lpstr>
      <vt:lpstr>_Entypo</vt:lpstr>
      <vt:lpstr>Myriad Pro Cond</vt:lpstr>
      <vt:lpstr>Тема Offic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</dc:creator>
  <cp:lastModifiedBy>АННА</cp:lastModifiedBy>
  <cp:revision>194</cp:revision>
  <cp:lastPrinted>2020-03-12T13:36:58Z</cp:lastPrinted>
  <dcterms:created xsi:type="dcterms:W3CDTF">2020-02-13T13:38:48Z</dcterms:created>
  <dcterms:modified xsi:type="dcterms:W3CDTF">2020-03-31T13:35:28Z</dcterms:modified>
</cp:coreProperties>
</file>